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6"/>
  </p:notesMasterIdLst>
  <p:sldIdLst>
    <p:sldId id="470" r:id="rId2"/>
    <p:sldId id="476" r:id="rId3"/>
    <p:sldId id="486" r:id="rId4"/>
    <p:sldId id="487" r:id="rId5"/>
    <p:sldId id="488" r:id="rId6"/>
    <p:sldId id="489" r:id="rId7"/>
    <p:sldId id="490" r:id="rId8"/>
    <p:sldId id="491" r:id="rId9"/>
    <p:sldId id="492" r:id="rId10"/>
    <p:sldId id="484" r:id="rId11"/>
    <p:sldId id="494" r:id="rId12"/>
    <p:sldId id="495" r:id="rId13"/>
    <p:sldId id="496" r:id="rId14"/>
    <p:sldId id="497" r:id="rId15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rnoff, Thomas (uidn6339)" initials="HT(" lastIdx="1" clrIdx="0">
    <p:extLst>
      <p:ext uri="{19B8F6BF-5375-455C-9EA6-DF929625EA0E}">
        <p15:presenceInfo xmlns:p15="http://schemas.microsoft.com/office/powerpoint/2012/main" userId="S::uidn6339@contiwan.com::b52af860-ca8e-4105-b288-22d8be27f6c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30B5C"/>
    <a:srgbClr val="5F5F5F"/>
    <a:srgbClr val="2C3968"/>
    <a:srgbClr val="747474"/>
    <a:srgbClr val="A6A6A6"/>
    <a:srgbClr val="B2B2B2"/>
    <a:srgbClr val="EAEAEA"/>
    <a:srgbClr val="FFFDFD"/>
    <a:srgbClr val="FFFD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72" autoAdjust="0"/>
    <p:restoredTop sz="89962" autoAdjust="0"/>
  </p:normalViewPr>
  <p:slideViewPr>
    <p:cSldViewPr snapToObjects="1" showGuides="1">
      <p:cViewPr varScale="1">
        <p:scale>
          <a:sx n="102" d="100"/>
          <a:sy n="102" d="100"/>
        </p:scale>
        <p:origin x="686" y="86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8/1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>
                <a:solidFill>
                  <a:schemeClr val="tx1"/>
                </a:solidFill>
              </a:rPr>
              <a:t>Wen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neues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einfügen</a:t>
            </a:r>
            <a:r>
              <a:rPr lang="en-US" sz="900" noProof="0" dirty="0">
                <a:solidFill>
                  <a:schemeClr val="tx1"/>
                </a:solidFill>
              </a:rPr>
              <a:t>: </a:t>
            </a:r>
            <a:r>
              <a:rPr lang="en-US" sz="900" noProof="0" dirty="0" err="1">
                <a:solidFill>
                  <a:schemeClr val="tx1"/>
                </a:solidFill>
              </a:rPr>
              <a:t>Klick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Sie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it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der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rechten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Maustaste</a:t>
            </a:r>
            <a:r>
              <a:rPr lang="en-US" sz="900" noProof="0" dirty="0">
                <a:solidFill>
                  <a:schemeClr val="tx1"/>
                </a:solidFill>
              </a:rPr>
              <a:t> auf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und </a:t>
            </a:r>
            <a:r>
              <a:rPr lang="en-US" sz="900" noProof="0" dirty="0" err="1">
                <a:solidFill>
                  <a:schemeClr val="tx1"/>
                </a:solidFill>
              </a:rPr>
              <a:t>wählen</a:t>
            </a:r>
            <a:r>
              <a:rPr lang="en-US" sz="900" noProof="0" dirty="0">
                <a:solidFill>
                  <a:schemeClr val="tx1"/>
                </a:solidFill>
              </a:rPr>
              <a:t> „In den </a:t>
            </a:r>
            <a:r>
              <a:rPr lang="en-US" sz="900" noProof="0" dirty="0" err="1">
                <a:solidFill>
                  <a:schemeClr val="tx1"/>
                </a:solidFill>
              </a:rPr>
              <a:t>Hintergrund</a:t>
            </a:r>
            <a:r>
              <a:rPr lang="en-US" sz="900" noProof="0" dirty="0">
                <a:solidFill>
                  <a:schemeClr val="tx1"/>
                </a:solidFill>
              </a:rPr>
              <a:t>“, um das </a:t>
            </a:r>
            <a:r>
              <a:rPr lang="en-US" sz="900" noProof="0" dirty="0" err="1">
                <a:solidFill>
                  <a:schemeClr val="tx1"/>
                </a:solidFill>
              </a:rPr>
              <a:t>Bild</a:t>
            </a:r>
            <a:r>
              <a:rPr lang="en-US" sz="900" noProof="0" dirty="0">
                <a:solidFill>
                  <a:schemeClr val="tx1"/>
                </a:solidFill>
              </a:rPr>
              <a:t> hinter das Quality Seal </a:t>
            </a:r>
            <a:r>
              <a:rPr lang="en-US" sz="900" noProof="0" dirty="0" err="1">
                <a:solidFill>
                  <a:schemeClr val="tx1"/>
                </a:solidFill>
              </a:rPr>
              <a:t>zu</a:t>
            </a:r>
            <a:r>
              <a:rPr lang="en-US" sz="900" noProof="0" dirty="0">
                <a:solidFill>
                  <a:schemeClr val="tx1"/>
                </a:solidFill>
              </a:rPr>
              <a:t> </a:t>
            </a:r>
            <a:r>
              <a:rPr lang="en-US" sz="900" noProof="0" dirty="0" err="1">
                <a:solidFill>
                  <a:schemeClr val="tx1"/>
                </a:solidFill>
              </a:rPr>
              <a:t>bringen</a:t>
            </a:r>
            <a:r>
              <a:rPr lang="en-US" sz="900" noProof="0" dirty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3,2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4"/>
          <p:cNvSpPr/>
          <p:nvPr userDrawn="1"/>
        </p:nvSpPr>
        <p:spPr>
          <a:xfrm>
            <a:off x="7560332" y="296862"/>
            <a:ext cx="1332272" cy="57585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LOGOPLACEHOLDER" hidden="1"/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>
            <a:srgbClr val="FFFFFF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800" noProof="0" dirty="0">
              <a:solidFill>
                <a:srgbClr val="00B0F0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Intern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 userDrawn="1">
            <p:custDataLst>
              <p:tags r:id="rId23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hackaday.io/project/175126-learn-how-to-hack-a-car-remoticon-workshop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buntu.com/" TargetMode="External"/><Relationship Id="rId2" Type="http://schemas.openxmlformats.org/officeDocument/2006/relationships/hyperlink" Target="https://www.vmware.com/products/workstation-player.html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hackaday.io/project/175126-learn-how-to-hack-a-car-remoticon-workshop" TargetMode="External"/><Relationship Id="rId4" Type="http://schemas.openxmlformats.org/officeDocument/2006/relationships/hyperlink" Target="https://github.com/zombieCraig/ICSim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zombieCraig/ICSim.git" TargetMode="External"/><Relationship Id="rId2" Type="http://schemas.openxmlformats.org/officeDocument/2006/relationships/hyperlink" Target="https://github.com/zombieCraig/ICSim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CarHackingLab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ICSim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858439-DBD0-4CC2-BA1A-54E3021CC1C0}"/>
              </a:ext>
            </a:extLst>
          </p:cNvPr>
          <p:cNvSpPr/>
          <p:nvPr/>
        </p:nvSpPr>
        <p:spPr>
          <a:xfrm>
            <a:off x="179512" y="195486"/>
            <a:ext cx="8784976" cy="2736304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9391E86-357B-447E-84B4-3066EDFA57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7102"/>
          <a:stretch/>
        </p:blipFill>
        <p:spPr>
          <a:xfrm>
            <a:off x="3883616" y="216917"/>
            <a:ext cx="4401108" cy="271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25629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9FC8503-B6CE-4A31-9603-717D278D36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B36C1E-5603-49AE-A5EF-64920F6F1F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play Attack with </a:t>
            </a:r>
            <a:r>
              <a:rPr lang="en-US" dirty="0" err="1"/>
              <a:t>ICSim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0AD5A-CDD9-4E1A-8545-17DA4DE342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F701C-372F-4C4A-8037-9EE90099ED8D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F1FDA7-E0A5-46C9-9CF6-8F32EFD5C5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320878-6141-401E-986A-B08E00B29F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944331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076E718-5ECA-4DA0-9E87-2E31F41954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Record the CAN messages with:</a:t>
            </a:r>
          </a:p>
          <a:p>
            <a:pPr lvl="1"/>
            <a:r>
              <a:rPr lang="en-US" dirty="0" err="1"/>
              <a:t>candump</a:t>
            </a:r>
            <a:r>
              <a:rPr lang="en-US" dirty="0"/>
              <a:t> –L &gt; open_door.log vcan0</a:t>
            </a:r>
          </a:p>
          <a:p>
            <a:pPr lvl="1"/>
            <a:r>
              <a:rPr lang="en-US" dirty="0"/>
              <a:t>While recording, open the doors using the controller (it’s a bit tricky to open the doors with the controller, so hold the left shift key and press the right or the other way around until the doors open)</a:t>
            </a:r>
          </a:p>
          <a:p>
            <a:r>
              <a:rPr lang="en-US" dirty="0"/>
              <a:t>Have a look at the dump:</a:t>
            </a:r>
          </a:p>
          <a:p>
            <a:pPr lvl="1"/>
            <a:r>
              <a:rPr lang="en-US" dirty="0"/>
              <a:t>head –n 10 open_door.log | log2long</a:t>
            </a:r>
          </a:p>
          <a:p>
            <a:r>
              <a:rPr lang="en-US" dirty="0"/>
              <a:t>Replay the file:</a:t>
            </a:r>
          </a:p>
          <a:p>
            <a:pPr lvl="1"/>
            <a:r>
              <a:rPr lang="en-US" dirty="0" err="1"/>
              <a:t>canplayer</a:t>
            </a:r>
            <a:r>
              <a:rPr lang="en-US" dirty="0"/>
              <a:t> –I open_door.lo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FC26D7A-2F5C-46EE-8E4E-C6281DDCD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play Att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3921AB-3A26-41B3-8A22-DE0C94A54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2268EC-B179-4EDD-8754-3D9C423EC7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9264BA-73A6-423B-B159-D6CDDE04659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2499647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EA824947-D0C9-44C4-BE81-E3DD7E8D51B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96876" y="1131590"/>
            <a:ext cx="4140200" cy="1925192"/>
          </a:xfrm>
          <a:noFill/>
        </p:spPr>
      </p:pic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4D55E9AA-7150-4243-9312-6D1348B4CB5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606925" y="1169621"/>
            <a:ext cx="4141788" cy="184913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5034DFA-0743-435F-98AF-F5124CA94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 anchor="t">
            <a:normAutofit/>
          </a:bodyPr>
          <a:lstStyle/>
          <a:p>
            <a:r>
              <a:rPr lang="en-US" dirty="0"/>
              <a:t>Replay Attack (cont.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C153C3-98A7-42EA-831C-785701E3EC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AA1A14F1-A98B-4B01-AB5C-4EDA8538C6C0}" type="datetime3">
              <a:rPr lang="en-US" noProof="0" smtClean="0"/>
              <a:pPr>
                <a:spcAft>
                  <a:spcPts val="600"/>
                </a:spcAft>
              </a:pPr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BFAAFE-28F9-4866-9AE5-2ED4270E38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5" y="4665239"/>
            <a:ext cx="360289" cy="11283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12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10C040-A323-48F9-A021-0CCA9C85F1C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Author, © Continental A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7D9070-6DFB-40BA-9319-0396F78500D2}"/>
              </a:ext>
            </a:extLst>
          </p:cNvPr>
          <p:cNvSpPr txBox="1"/>
          <p:nvPr/>
        </p:nvSpPr>
        <p:spPr>
          <a:xfrm>
            <a:off x="467544" y="3579862"/>
            <a:ext cx="7992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f it doesn’t work with opening the doors too well, you can also try it with the speed or turning left/right.</a:t>
            </a:r>
          </a:p>
        </p:txBody>
      </p:sp>
    </p:spTree>
    <p:extLst>
      <p:ext uri="{BB962C8B-B14F-4D97-AF65-F5344CB8AC3E}">
        <p14:creationId xmlns:p14="http://schemas.microsoft.com/office/powerpoint/2010/main" val="45531131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A78CC71-75FE-4C6C-93BD-60DFEF80E3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A70EFF-2FD8-487E-9EF5-263A1F59B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 the exact comman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851F2F-863D-4D87-A6AD-2976E3738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F701C-372F-4C4A-8037-9EE90099ED8D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B9372C-3D41-4B94-8C2E-83D675148F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DA9D3E-277D-4A53-AC0F-F3D187EC33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11553772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C18CC07-5BB8-4A37-8A7D-539DEE1189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nt the lines in your file:</a:t>
            </a:r>
          </a:p>
          <a:p>
            <a:pPr lvl="1"/>
            <a:r>
              <a:rPr lang="en-US" dirty="0" err="1"/>
              <a:t>wc</a:t>
            </a:r>
            <a:r>
              <a:rPr lang="en-US" dirty="0"/>
              <a:t> –l open_door.log</a:t>
            </a:r>
          </a:p>
          <a:p>
            <a:r>
              <a:rPr lang="en-US" dirty="0"/>
              <a:t>Split the log file:</a:t>
            </a:r>
          </a:p>
          <a:p>
            <a:pPr lvl="1"/>
            <a:r>
              <a:rPr lang="en-US" dirty="0"/>
              <a:t>Split –l open_door.log </a:t>
            </a:r>
          </a:p>
          <a:p>
            <a:r>
              <a:rPr lang="en-US" dirty="0"/>
              <a:t>If the file is too long or if you get stuck, head over to </a:t>
            </a:r>
            <a:r>
              <a:rPr lang="en-US" dirty="0">
                <a:hlinkClick r:id="rId2"/>
              </a:rPr>
              <a:t>https://hackaday.io/project/175126-learn-how-to-hack-a-car-remoticon-workshop</a:t>
            </a:r>
            <a:r>
              <a:rPr lang="en-US" dirty="0"/>
              <a:t> , download the file content and try it with the 100 lines file mentioned in that workshop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96E3AC-D0BE-4950-AED6-5C4978803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 the CAN command that opened the doo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B1268-0E30-4116-B997-71BCDA307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D7750-2B69-4BB4-90F1-CE42149482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6760BE-D54E-4129-BE19-D5B50D2AF97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16090522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D7E5CB7-D438-4981-A5B7-BB9FBC54E5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125F2E-0A7B-4567-92ED-502847F44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0C0724-5588-4A57-99FA-383033B9F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F701C-372F-4C4A-8037-9EE90099ED8D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34585C-78D4-4A24-A481-0146315692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E8C965-F844-4E3F-918E-5A1F4CF5077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84383752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725A566-D1A5-4762-8EC2-71D799C4E9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Download VMware Player here: </a:t>
            </a:r>
            <a:r>
              <a:rPr lang="en-US" dirty="0">
                <a:hlinkClick r:id="rId2"/>
              </a:rPr>
              <a:t>https://www.vmware.com/products/workstation-player.html</a:t>
            </a:r>
            <a:endParaRPr lang="en-US" dirty="0"/>
          </a:p>
          <a:p>
            <a:r>
              <a:rPr lang="en-US" dirty="0"/>
              <a:t>Download Ubuntu here: </a:t>
            </a:r>
            <a:r>
              <a:rPr lang="en-US" dirty="0">
                <a:hlinkClick r:id="rId3"/>
              </a:rPr>
              <a:t>https://ubuntu.com/</a:t>
            </a:r>
            <a:endParaRPr lang="en-US" dirty="0"/>
          </a:p>
          <a:p>
            <a:r>
              <a:rPr lang="en-US" dirty="0"/>
              <a:t>Follow steps for </a:t>
            </a:r>
            <a:r>
              <a:rPr lang="en-US" dirty="0" err="1"/>
              <a:t>ICSim</a:t>
            </a:r>
            <a:r>
              <a:rPr lang="en-US" dirty="0"/>
              <a:t> here: </a:t>
            </a:r>
            <a:r>
              <a:rPr lang="en-US" dirty="0">
                <a:hlinkClick r:id="rId4"/>
              </a:rPr>
              <a:t>https://github.com/zombieCraig/ICSim</a:t>
            </a:r>
            <a:endParaRPr lang="en-US" dirty="0"/>
          </a:p>
          <a:p>
            <a:r>
              <a:rPr lang="en-US" dirty="0"/>
              <a:t>Resources for this lab:</a:t>
            </a:r>
          </a:p>
          <a:p>
            <a:pPr lvl="1"/>
            <a:r>
              <a:rPr lang="en-US" dirty="0"/>
              <a:t>The Car Hacker’s Handbook</a:t>
            </a:r>
          </a:p>
          <a:p>
            <a:pPr lvl="1"/>
            <a:r>
              <a:rPr lang="en-US" dirty="0">
                <a:hlinkClick r:id="rId5"/>
              </a:rPr>
              <a:t>https://hackaday.io/project/175126-learn-how-to-hack-a-car-remoticon-workshop</a:t>
            </a:r>
            <a:endParaRPr lang="en-US" dirty="0"/>
          </a:p>
          <a:p>
            <a:pPr lvl="2"/>
            <a:r>
              <a:rPr lang="en-US" dirty="0"/>
              <a:t>This workshop is based on the workshop from </a:t>
            </a:r>
            <a:r>
              <a:rPr lang="en-US" dirty="0" err="1"/>
              <a:t>Hackaday’s</a:t>
            </a:r>
            <a:r>
              <a:rPr lang="en-US" dirty="0"/>
              <a:t> </a:t>
            </a:r>
            <a:r>
              <a:rPr lang="en-US" dirty="0" err="1"/>
              <a:t>remoticon</a:t>
            </a:r>
            <a:r>
              <a:rPr lang="en-US" dirty="0"/>
              <a:t> in 2020. If you’re getting stuck, you can also use these resourc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5E4582-C25D-4F11-AC59-DC91224FB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eded Softwa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2B13A7-738F-451E-85B7-936678A10F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B5C348-9C7B-4E0C-8726-645390A14B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FC711B-7969-4737-95BE-2E97E894A1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7799433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7F6D2F9-C944-41BE-BDC7-FF01EF5256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nstall VMware Player</a:t>
            </a:r>
          </a:p>
          <a:p>
            <a:r>
              <a:rPr lang="en-US" dirty="0"/>
              <a:t>After installing and starting VMware, create a new virtual machine and select the downloaded Ubuntu .iso file</a:t>
            </a:r>
          </a:p>
          <a:p>
            <a:r>
              <a:rPr lang="en-US" dirty="0"/>
              <a:t>Follow the installation steps and leave the default values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585859-4994-4D86-843F-19F77C3D52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ation step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5D5CD6-69D7-43FA-A29F-623C07744E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730C5F-DB5C-469B-8C52-D02B7CBB20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2B4A6-2656-4ADB-A765-370CD8C57E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34821271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CA433BA-D87E-EFEE-71D3-DA192DC6DB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/>
          <a:lstStyle/>
          <a:p>
            <a:r>
              <a:rPr lang="en-US" dirty="0"/>
              <a:t>Make sure to select your downloaded Ubuntu .iso file</a:t>
            </a:r>
          </a:p>
          <a:p>
            <a:r>
              <a:rPr lang="en-US" dirty="0"/>
              <a:t>Leave the rest of the options as default, we don’t need special settings for this lab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017BAE-B5D5-4FAA-B637-43E1EBA8B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 anchor="t">
            <a:normAutofit/>
          </a:bodyPr>
          <a:lstStyle/>
          <a:p>
            <a:r>
              <a:rPr lang="en-US" dirty="0"/>
              <a:t>Creating a new Virtual Machine with Ubuntu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18EC7B-D8CB-40FA-AEAB-F695F8A90E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AA1A14F1-A98B-4B01-AB5C-4EDA8538C6C0}" type="datetime3">
              <a:rPr lang="en-US" noProof="0" smtClean="0"/>
              <a:pPr>
                <a:spcAft>
                  <a:spcPts val="600"/>
                </a:spcAft>
              </a:pPr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F8CB15-9569-4429-9BE4-770FD82E42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5" y="4665239"/>
            <a:ext cx="360289" cy="11283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EF7480-3AE7-4FC7-9CAC-77E4CFE1F4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Author, © Continental AG</a:t>
            </a:r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7F223F3F-5AED-43A1-803A-A8FFB68F040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798368" y="1347788"/>
            <a:ext cx="3334039" cy="2808287"/>
          </a:xfrm>
        </p:spPr>
      </p:pic>
    </p:spTree>
    <p:extLst>
      <p:ext uri="{BB962C8B-B14F-4D97-AF65-F5344CB8AC3E}">
        <p14:creationId xmlns:p14="http://schemas.microsoft.com/office/powerpoint/2010/main" val="227734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C9B203A-39EA-45E2-BE76-CC3A19E9B7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Open a terminal in Ubuntu</a:t>
            </a:r>
          </a:p>
          <a:p>
            <a:r>
              <a:rPr lang="en-US" dirty="0"/>
              <a:t>Install git, make, and </a:t>
            </a:r>
            <a:r>
              <a:rPr lang="en-US" dirty="0" err="1"/>
              <a:t>gcc</a:t>
            </a:r>
            <a:r>
              <a:rPr lang="en-US" dirty="0"/>
              <a:t> with ‘</a:t>
            </a:r>
            <a:r>
              <a:rPr lang="en-US" dirty="0" err="1"/>
              <a:t>sudo</a:t>
            </a:r>
            <a:r>
              <a:rPr lang="en-US" dirty="0"/>
              <a:t> apt install git make </a:t>
            </a:r>
            <a:r>
              <a:rPr lang="en-US" dirty="0" err="1"/>
              <a:t>gcc</a:t>
            </a:r>
            <a:r>
              <a:rPr lang="en-US" dirty="0"/>
              <a:t>’</a:t>
            </a:r>
          </a:p>
          <a:p>
            <a:r>
              <a:rPr lang="en-US" dirty="0"/>
              <a:t>Head over to </a:t>
            </a:r>
            <a:r>
              <a:rPr lang="en-US" dirty="0">
                <a:hlinkClick r:id="rId2"/>
              </a:rPr>
              <a:t>https://github.com/zombieCraig/ICSim</a:t>
            </a:r>
            <a:r>
              <a:rPr lang="en-US" dirty="0"/>
              <a:t> , we want to get the git repo with:</a:t>
            </a:r>
          </a:p>
          <a:p>
            <a:pPr lvl="1"/>
            <a:r>
              <a:rPr lang="en-US" dirty="0"/>
              <a:t>git clone </a:t>
            </a:r>
            <a:r>
              <a:rPr lang="en-US" dirty="0">
                <a:hlinkClick r:id="rId3"/>
              </a:rPr>
              <a:t>https://github.com/zombieCraig/ICSim.git</a:t>
            </a:r>
            <a:endParaRPr lang="en-US" dirty="0"/>
          </a:p>
          <a:p>
            <a:r>
              <a:rPr lang="en-US" dirty="0"/>
              <a:t>Install needed libraries:</a:t>
            </a:r>
          </a:p>
          <a:p>
            <a:pPr lvl="1"/>
            <a:r>
              <a:rPr lang="en-US" dirty="0" err="1"/>
              <a:t>sudo</a:t>
            </a:r>
            <a:r>
              <a:rPr lang="en-US" dirty="0"/>
              <a:t> apt-get install libsdl2-dev libsdl2-image-dev can-utils</a:t>
            </a:r>
          </a:p>
          <a:p>
            <a:r>
              <a:rPr lang="en-US" dirty="0"/>
              <a:t>Change to directory </a:t>
            </a:r>
            <a:r>
              <a:rPr lang="en-US" dirty="0" err="1"/>
              <a:t>ICSim</a:t>
            </a:r>
            <a:r>
              <a:rPr lang="en-US" dirty="0"/>
              <a:t>, which you just download</a:t>
            </a:r>
          </a:p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BCD396-0AE2-4230-B6BB-8D3C1EC96E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CSim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05CAA9-6C51-4F77-A26C-64A801CEF2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692D50-7E0C-4D5A-887B-01D2D948D0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D6140E-E3B5-43C9-A039-737B6E3B32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6768761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CBA4892-F92A-45DB-A648-443A701ADB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hange to directory </a:t>
            </a:r>
            <a:r>
              <a:rPr lang="en-US" dirty="0" err="1"/>
              <a:t>ICSim</a:t>
            </a:r>
            <a:r>
              <a:rPr lang="en-US" dirty="0"/>
              <a:t>, which you just downloaded and enter following commands:</a:t>
            </a:r>
          </a:p>
          <a:p>
            <a:pPr lvl="1"/>
            <a:r>
              <a:rPr lang="en-US" dirty="0"/>
              <a:t>make</a:t>
            </a:r>
          </a:p>
          <a:p>
            <a:pPr lvl="1"/>
            <a:r>
              <a:rPr lang="en-US" dirty="0"/>
              <a:t>./setup_vcan.sh</a:t>
            </a:r>
          </a:p>
          <a:p>
            <a:pPr lvl="1"/>
            <a:r>
              <a:rPr lang="en-US" dirty="0"/>
              <a:t>./</a:t>
            </a:r>
            <a:r>
              <a:rPr lang="en-US" dirty="0" err="1"/>
              <a:t>icsim</a:t>
            </a:r>
            <a:r>
              <a:rPr lang="en-US" dirty="0"/>
              <a:t> vcan0</a:t>
            </a:r>
          </a:p>
          <a:p>
            <a:pPr lvl="1"/>
            <a:r>
              <a:rPr lang="en-US" dirty="0"/>
              <a:t>./controls vcan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6ED497-7122-42F0-8635-CA01693C1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tting up Virtual CAN Interfac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703A9D-0231-4D10-858C-68D5DD22B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A14F1-A98B-4B01-AB5C-4EDA8538C6C0}" type="datetime3">
              <a:rPr lang="en-US" noProof="0" smtClean="0"/>
              <a:pPr/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920BF6-AD6C-424D-A81D-C17F69780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935AF5-CF59-43AD-A765-41EF70B26E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21998697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DCF99DC-511D-4D88-8B11-3851B190BF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3287" y="771550"/>
            <a:ext cx="6837425" cy="3384525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E5086A8-2266-4B31-ABA6-B239E5FEC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 anchor="t">
            <a:normAutofit/>
          </a:bodyPr>
          <a:lstStyle/>
          <a:p>
            <a:r>
              <a:rPr lang="en-US" dirty="0"/>
              <a:t>Start </a:t>
            </a:r>
            <a:r>
              <a:rPr lang="en-US" dirty="0" err="1"/>
              <a:t>ICSim</a:t>
            </a:r>
            <a:r>
              <a:rPr lang="en-US" dirty="0"/>
              <a:t> and Controls in Ubuntu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6CACEC-3F78-4706-B613-F2CD5FE244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B95F1328-8865-4437-B9B5-1B98AE42546C}" type="datetime3">
              <a:rPr lang="en-US" noProof="0" smtClean="0"/>
              <a:pPr>
                <a:spcAft>
                  <a:spcPts val="600"/>
                </a:spcAft>
              </a:pPr>
              <a:t>11 August 2022</a:t>
            </a:fld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0A05A6-C527-4D9A-BC08-3AAB7ABD40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5" y="4665239"/>
            <a:ext cx="360289" cy="11283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8</a:t>
            </a:fld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71673F-E35D-40A6-BFA7-2077D1D015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71026690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BAACFB8-E1ED-404A-8FCC-B011329D06D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95289" y="1727232"/>
            <a:ext cx="4140200" cy="2049398"/>
          </a:xfrm>
          <a:noFill/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8352E6C-A83C-4DB8-3C0B-C03FEA9B6B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/>
          <a:lstStyle/>
          <a:p>
            <a:r>
              <a:rPr lang="en-US" dirty="0"/>
              <a:t>In another terminal window, run:</a:t>
            </a:r>
          </a:p>
          <a:p>
            <a:pPr lvl="1"/>
            <a:r>
              <a:rPr lang="en-US" dirty="0" err="1"/>
              <a:t>candump</a:t>
            </a:r>
            <a:r>
              <a:rPr lang="en-US" dirty="0"/>
              <a:t> vcan0</a:t>
            </a:r>
          </a:p>
          <a:p>
            <a:r>
              <a:rPr lang="en-US" dirty="0"/>
              <a:t>You should see the CAN messages of </a:t>
            </a:r>
            <a:r>
              <a:rPr lang="en-US" dirty="0" err="1"/>
              <a:t>ICSim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8C8BE2F-359B-4107-8D21-4D7FE2E2F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 anchor="t">
            <a:normAutofit/>
          </a:bodyPr>
          <a:lstStyle/>
          <a:p>
            <a:r>
              <a:rPr lang="en-US" dirty="0"/>
              <a:t>CAN Messag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5C8A29-79EE-43C7-BFA1-EDB3A710C4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AA1A14F1-A98B-4B01-AB5C-4EDA8538C6C0}" type="datetime3">
              <a:rPr lang="en-US" noProof="0" smtClean="0"/>
              <a:pPr>
                <a:spcAft>
                  <a:spcPts val="600"/>
                </a:spcAft>
              </a:pPr>
              <a:t>11 August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26844A-2794-4A15-8BE0-CB18B8D551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5" y="4665239"/>
            <a:ext cx="360289" cy="11283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9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735737-FF82-4DBA-A3E4-79EE0CFBE41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350486" y="4665239"/>
            <a:ext cx="2001935" cy="11283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12685065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4"/>
  <p:tag name="MIO_SHOW_DATE" val="True"/>
  <p:tag name="MIO_SHOW_FOOTER" val="True"/>
  <p:tag name="MIO_SHOW_PAGENUMBER" val="True"/>
  <p:tag name="MIO_AVOID_BLANK_LAYOUT" val="Fals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30.06.2017 15:29:39"/>
  <p:tag name="MIO_DBID" val="ED9FF2F2-6643-46BA-B685-7D49126FFAFF"/>
  <p:tag name="MIO_LASTDOWNLOADED" val="10.07.2017 14:56:51"/>
  <p:tag name="MIO_OBJECTNAME" val="Automotive, 16x9"/>
  <p:tag name="MIO_LASTEDITORNAME" val="Leon Kirchner_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1"/>
  <p:tag name="MIO_UPDATE" val="True"/>
  <p:tag name="MIO_VERSION" val="15.02.2018 16:15:32"/>
  <p:tag name="MIO_DBID" val="ED9FF2F2-6643-46BA-B685-7D49126FFAFF"/>
  <p:tag name="MIO_LASTDOWNLOADED" val="22.09.2021 14:22:03"/>
  <p:tag name="MIO_OBJECTNAME" val="Automotive, 16x9"/>
</p:tagLst>
</file>

<file path=ppt/theme/theme1.xml><?xml version="1.0" encoding="utf-8"?>
<a:theme xmlns:a="http://schemas.openxmlformats.org/drawingml/2006/main" name="Continental AG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6</Words>
  <Application>Microsoft Office PowerPoint</Application>
  <PresentationFormat>On-screen Show (16:9)</PresentationFormat>
  <Paragraphs>95</Paragraphs>
  <Slides>1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Arial</vt:lpstr>
      <vt:lpstr>Continental AG, 16x9</vt:lpstr>
      <vt:lpstr>CarHackingLab</vt:lpstr>
      <vt:lpstr>Setup</vt:lpstr>
      <vt:lpstr>Needed Software</vt:lpstr>
      <vt:lpstr>Installation steps</vt:lpstr>
      <vt:lpstr>Creating a new Virtual Machine with Ubuntu</vt:lpstr>
      <vt:lpstr>ICSim</vt:lpstr>
      <vt:lpstr>Setting up Virtual CAN Interface</vt:lpstr>
      <vt:lpstr>Start ICSim and Controls in Ubuntu</vt:lpstr>
      <vt:lpstr>CAN Messages</vt:lpstr>
      <vt:lpstr>Replay Attack with ICSim</vt:lpstr>
      <vt:lpstr>Replay Attack</vt:lpstr>
      <vt:lpstr>Replay Attack (cont.)</vt:lpstr>
      <vt:lpstr>Find the exact command</vt:lpstr>
      <vt:lpstr>Finding the CAN command that opened the door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homas Hornoff</dc:creator>
  <cp:lastModifiedBy>Hornoff, Thomas (uidn6339)</cp:lastModifiedBy>
  <cp:revision>648</cp:revision>
  <dcterms:created xsi:type="dcterms:W3CDTF">2018-02-15T15:15:31Z</dcterms:created>
  <dcterms:modified xsi:type="dcterms:W3CDTF">2022-08-11T10:21:00Z</dcterms:modified>
</cp:coreProperties>
</file>